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sldIdLst>
    <p:sldId id="256" r:id="rId3"/>
    <p:sldId id="265" r:id="rId4"/>
    <p:sldId id="258" r:id="rId5"/>
    <p:sldId id="260" r:id="rId6"/>
    <p:sldId id="266" r:id="rId7"/>
    <p:sldId id="259" r:id="rId8"/>
    <p:sldId id="261" r:id="rId9"/>
  </p:sldIdLst>
  <p:sldSz cx="12192000" cy="6858000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46"/>
    <p:restoredTop sz="96312"/>
  </p:normalViewPr>
  <p:slideViewPr>
    <p:cSldViewPr snapToGrid="0">
      <p:cViewPr varScale="1">
        <p:scale>
          <a:sx n="157" d="100"/>
          <a:sy n="157" d="100"/>
        </p:scale>
        <p:origin x="16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svg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3.pn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2.emf"/><Relationship Id="rId5" Type="http://schemas.openxmlformats.org/officeDocument/2006/relationships/tags" Target="../tags/tag14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8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image" Target="../media/image8.emf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0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1.emf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8.xml"/><Relationship Id="rId9" Type="http://schemas.openxmlformats.org/officeDocument/2006/relationships/tags" Target="../tags/tag21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8.emf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image" Target="../media/image1.emf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1.emf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4.xml"/><Relationship Id="rId9" Type="http://schemas.openxmlformats.org/officeDocument/2006/relationships/tags" Target="../tags/tag2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7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262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artnership">
            <a:extLst>
              <a:ext uri="{FF2B5EF4-FFF2-40B4-BE49-F238E27FC236}">
                <a16:creationId xmlns:a16="http://schemas.microsoft.com/office/drawing/2014/main" id="{A00311E5-5DD2-4988-94D4-79B581B94F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96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F5EEAF01-776E-4297-981A-CCA9ED98FA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551942" y="6190488"/>
            <a:ext cx="237249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bg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bg2"/>
                </a:solidFill>
                <a:latin typeface="+mn-lt"/>
              </a:rPr>
              <a:t>Any use of this material without specific permission</a:t>
            </a:r>
          </a:p>
          <a:p>
            <a:pPr defTabSz="804863" eaLnBrk="0" hangingPunct="0"/>
            <a:r>
              <a:rPr lang="en-US" sz="800" dirty="0">
                <a:solidFill>
                  <a:schemeClr val="bg2"/>
                </a:solidFill>
                <a:latin typeface="+mn-lt"/>
              </a:rPr>
              <a:t>of McKinsey &amp; Company is strictly prohibited</a:t>
            </a: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40F029-D503-41EA-9DD1-42DBAE313A0F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18D61011-66A0-4C81-941E-D63CC06B1C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432F335E-7785-4123-A720-55B1C78518D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191069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53635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2231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856397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09377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95259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72657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08693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12" name="Partnership">
            <a:extLst>
              <a:ext uri="{FF2B5EF4-FFF2-40B4-BE49-F238E27FC236}">
                <a16:creationId xmlns:a16="http://schemas.microsoft.com/office/drawing/2014/main" id="{0F7487FE-3275-468A-8AE3-F3DA10AD9C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0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7.xml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58.xml"/><Relationship Id="rId5" Type="http://schemas.openxmlformats.org/officeDocument/2006/relationships/image" Target="../media/image11.jpeg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5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6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6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62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63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C1CB22-A9AE-7640-7CAB-2A18D164DD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7665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1EC98C03-2287-7115-CB90-9C9627E8B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069" y="2970341"/>
            <a:ext cx="6016752" cy="458659"/>
          </a:xfrm>
        </p:spPr>
        <p:txBody>
          <a:bodyPr/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-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1A051F-6192-D7E1-0B26-9BB55385E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69" y="1870363"/>
            <a:ext cx="6016752" cy="978931"/>
          </a:xfrm>
        </p:spPr>
        <p:txBody>
          <a:bodyPr vert="horz"/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rint Plann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CBB42F-F6E1-12F0-DACF-CCEE95F1FBCC}"/>
              </a:ext>
            </a:extLst>
          </p:cNvPr>
          <p:cNvSpPr txBox="1"/>
          <p:nvPr/>
        </p:nvSpPr>
        <p:spPr>
          <a:xfrm>
            <a:off x="2524991" y="6483927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58341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3D5B28-FCE0-DFEF-9461-CEE0BCEE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36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3D5B28-FCE0-DFEF-9461-CEE0BCEE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5C530A-AEB7-390D-601E-56D15756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18" y="674648"/>
            <a:ext cx="6967728" cy="731520"/>
          </a:xfrm>
        </p:spPr>
        <p:txBody>
          <a:bodyPr vert="horz"/>
          <a:lstStyle/>
          <a:p>
            <a:r>
              <a:rPr lang="en-IN" sz="240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print Planning: </a:t>
            </a:r>
            <a:r>
              <a:rPr lang="en-IN" sz="24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llaborative Effort for Agile Development Success</a:t>
            </a:r>
            <a:endParaRPr lang="en-US" sz="48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D63C778-8A55-E8C9-C496-5DC445A11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018" y="2177330"/>
            <a:ext cx="6967728" cy="3392197"/>
          </a:xfrm>
        </p:spPr>
        <p:txBody>
          <a:bodyPr anchor="t"/>
          <a:lstStyle/>
          <a:p>
            <a:pPr algn="just">
              <a:buNone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SzPct val="150000"/>
              <a:buFont typeface="Arial" panose="020B0604020202020204" pitchFamily="34" charset="0"/>
              <a:buChar char="•"/>
            </a:pP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print planning is a crucial aspect of project planning</a:t>
            </a:r>
          </a:p>
          <a:p>
            <a:pPr marL="285750" indent="-285750" algn="just">
              <a:buSzPct val="150000"/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SzPct val="150000"/>
              <a:buFont typeface="Arial" panose="020B0604020202020204" pitchFamily="34" charset="0"/>
              <a:buChar char="•"/>
            </a:pP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prints involve breaking down a project into smaller, manageable chunks</a:t>
            </a:r>
          </a:p>
          <a:p>
            <a:pPr marL="285750" indent="-285750" algn="just">
              <a:buSzPct val="150000"/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SzPct val="150000"/>
              <a:buFont typeface="Arial" panose="020B0604020202020204" pitchFamily="34" charset="0"/>
              <a:buChar char="•"/>
            </a:pP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lanning sprints can be complex, especially with multiple developers and stories with dependencies</a:t>
            </a:r>
          </a:p>
          <a:p>
            <a:pPr algn="just">
              <a:buNone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74399C-521A-CC64-6B0D-005CDBA642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Problem Domain</a:t>
            </a:r>
          </a:p>
        </p:txBody>
      </p:sp>
      <p:pic>
        <p:nvPicPr>
          <p:cNvPr id="2050" name="Picture 2" descr="Sprint Planning Meeting in Agile Scrum Framework">
            <a:extLst>
              <a:ext uri="{FF2B5EF4-FFF2-40B4-BE49-F238E27FC236}">
                <a16:creationId xmlns:a16="http://schemas.microsoft.com/office/drawing/2014/main" id="{31FD79A3-2C08-45D4-93AF-33BE798CBF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" r="10020"/>
          <a:stretch/>
        </p:blipFill>
        <p:spPr bwMode="auto">
          <a:xfrm>
            <a:off x="8173371" y="757776"/>
            <a:ext cx="3708842" cy="2257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5EBB6C-0B8B-F5CE-12CD-37ECF534CFDA}"/>
              </a:ext>
            </a:extLst>
          </p:cNvPr>
          <p:cNvSpPr txBox="1"/>
          <p:nvPr/>
        </p:nvSpPr>
        <p:spPr>
          <a:xfrm flipH="1">
            <a:off x="8095647" y="4665009"/>
            <a:ext cx="3786566" cy="9045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IN" sz="1600" b="0" i="0" dirty="0">
                <a:effectLst/>
                <a:latin typeface="Söhne"/>
              </a:rPr>
              <a:t>Sprint planning is crucial in software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IN" sz="1600" b="0" i="0" dirty="0">
                <a:effectLst/>
                <a:latin typeface="Söhne"/>
              </a:rPr>
              <a:t>development for breaking down projects into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IN" sz="1600" b="0" i="0" dirty="0">
                <a:effectLst/>
                <a:latin typeface="Söhne"/>
              </a:rPr>
              <a:t>manageable chunks and setting a timeframe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01272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598D14-B3C0-3473-325E-E2160BD1B7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2773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AAB196-D6A3-707B-2D76-99CD570F6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308" y="425021"/>
            <a:ext cx="6967728" cy="731520"/>
          </a:xfrm>
        </p:spPr>
        <p:txBody>
          <a:bodyPr vert="horz"/>
          <a:lstStyle/>
          <a:p>
            <a:r>
              <a:rPr lang="en-IN" sz="24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posed Solution: </a:t>
            </a:r>
            <a:r>
              <a:rPr lang="en-US" sz="2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comprehensive plan to increase the efficiency of the planning process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ECFF6BC-7A0A-AA0E-D41C-D5CBA1BB3B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7308" y="1523898"/>
            <a:ext cx="6967728" cy="276999"/>
          </a:xfrm>
        </p:spPr>
        <p:txBody>
          <a:bodyPr anchor="t"/>
          <a:lstStyle/>
          <a:p>
            <a:pPr algn="just">
              <a:spcBef>
                <a:spcPct val="100000"/>
              </a:spcBef>
              <a:buNone/>
            </a:pPr>
            <a:endParaRPr lang="en-IN" sz="18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Bef>
                <a:spcPct val="1000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IN" sz="18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ory Management:</a:t>
            </a: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IN" sz="18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ries that need to be completed, including their dependencies on each other</a:t>
            </a: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Bef>
                <a:spcPct val="1000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IN" sz="18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veloper Management: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en-IN" sz="18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velopers who are available to work on the project, along with their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dividual capacities</a:t>
            </a:r>
          </a:p>
          <a:p>
            <a:pPr marL="342900" indent="-342900" algn="just">
              <a:spcBef>
                <a:spcPct val="1000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IN" sz="18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print Planning:</a:t>
            </a:r>
            <a:r>
              <a:rPr lang="en-IN" sz="18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</a:t>
            </a:r>
            <a:r>
              <a:rPr lang="en-IN" sz="18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ill consider the dependencies between stories, as well as the availability of developers. </a:t>
            </a:r>
          </a:p>
          <a:p>
            <a:pPr marL="342900" indent="-342900" algn="just">
              <a:spcBef>
                <a:spcPct val="1000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ualization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The stories can be visualized using two interactive chart options (Gantt Chart, Dependency Chart)</a:t>
            </a:r>
            <a:endParaRPr lang="en-IN" sz="18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Bef>
                <a:spcPct val="100000"/>
              </a:spcBef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lnSpc>
                <a:spcPct val="150000"/>
              </a:lnSpc>
              <a:spcBef>
                <a:spcPct val="100000"/>
              </a:spcBef>
              <a:buNone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9F948B-BAFB-B6C5-DB18-116A6498E71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Proposed 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AFD4C5B-A7F2-BCED-7437-53BC96D7D4A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32070" b="24292"/>
          <a:stretch/>
        </p:blipFill>
        <p:spPr>
          <a:xfrm>
            <a:off x="8619970" y="790781"/>
            <a:ext cx="2759843" cy="25271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30FC486-9D92-20DB-AB56-77015ABE1755}"/>
              </a:ext>
            </a:extLst>
          </p:cNvPr>
          <p:cNvSpPr txBox="1"/>
          <p:nvPr/>
        </p:nvSpPr>
        <p:spPr>
          <a:xfrm>
            <a:off x="8266422" y="4460668"/>
            <a:ext cx="3466941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IN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ory and developer management, sprint planning, and interactive chart visualization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8122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ACB874-1820-237E-82A4-37A44011B2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84300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05326A-63FB-F0D9-C087-B7DB5AD02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61" y="477982"/>
            <a:ext cx="5065776" cy="1038942"/>
          </a:xfrm>
        </p:spPr>
        <p:txBody>
          <a:bodyPr vert="horz"/>
          <a:lstStyle/>
          <a:p>
            <a:r>
              <a:rPr lang="en-IN" sz="240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tory Management: </a:t>
            </a:r>
            <a:r>
              <a:rPr lang="en-IN" sz="2400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rganizing project stories for improved project planning and execution.</a:t>
            </a:r>
            <a:endParaRPr lang="en-US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226D398-02A0-F294-E4EA-047CC0290C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4261" y="2439405"/>
            <a:ext cx="5065776" cy="276999"/>
          </a:xfrm>
        </p:spPr>
        <p:txBody>
          <a:bodyPr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icient</a:t>
            </a:r>
            <a:r>
              <a:rPr lang="en-IN" sz="18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project management: </a:t>
            </a:r>
            <a:r>
              <a:rPr lang="en-IN" sz="18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t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ables </a:t>
            </a:r>
            <a:r>
              <a:rPr lang="en-IN" sz="1800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project owners to input stories and dependencies, prioritize tasks</a:t>
            </a:r>
            <a:r>
              <a:rPr lang="en-IN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IN" sz="1800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ssign responsibiliti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ose developer assignment: 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roduct owner has the option to select from the list of developers to assign to a specific story or leave it to the algorithm to assign randomly. </a:t>
            </a: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AA8E4-FFF0-4FE2-464C-8E6AEE1ABC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tory Management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5CE8093F-E906-6C63-A85F-AA46CC590F5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159752" y="997453"/>
            <a:ext cx="4156918" cy="3160905"/>
          </a:xfrm>
          <a:prstGeom prst="rect">
            <a:avLst/>
          </a:prstGeom>
          <a:effectLst>
            <a:outerShdw dist="50800" dir="5400000" algn="ctr" rotWithShape="0">
              <a:srgbClr val="000000"/>
            </a:outerShdw>
            <a:softEdge rad="0"/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D68B8A-BD8C-7E3D-6C74-0F74A1A69175}"/>
              </a:ext>
            </a:extLst>
          </p:cNvPr>
          <p:cNvSpPr txBox="1"/>
          <p:nvPr/>
        </p:nvSpPr>
        <p:spPr>
          <a:xfrm>
            <a:off x="3719945" y="71697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EE0044-74B9-C216-929C-D245F10B9EE2}"/>
              </a:ext>
            </a:extLst>
          </p:cNvPr>
          <p:cNvSpPr txBox="1"/>
          <p:nvPr/>
        </p:nvSpPr>
        <p:spPr>
          <a:xfrm>
            <a:off x="6920345" y="5091546"/>
            <a:ext cx="461224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IN" sz="16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fficient project management with easy story input and developer assignment options.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306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F798A8-1AB9-5426-2894-71C2CC3A7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3095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05326A-63FB-F0D9-C087-B7DB5AD02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263" y="703996"/>
            <a:ext cx="6967728" cy="731520"/>
          </a:xfrm>
        </p:spPr>
        <p:txBody>
          <a:bodyPr vert="horz"/>
          <a:lstStyle/>
          <a:p>
            <a:r>
              <a:rPr lang="en-IN" sz="240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veloper Management: </a:t>
            </a:r>
            <a:r>
              <a:rPr lang="en-IN" sz="24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ssigning Tasks and Calculating Required Developers</a:t>
            </a:r>
            <a:endParaRPr lang="en-US" sz="3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226D398-02A0-F294-E4EA-047CC0290C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9263" y="3817019"/>
            <a:ext cx="6967728" cy="276999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veloper assignment: </a:t>
            </a:r>
            <a:r>
              <a:rPr lang="en-IN" sz="18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tool </a:t>
            </a: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ssigns developers to specific tasks based on their availability and capac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aximize efficiency: </a:t>
            </a: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tool takes into consideration the overall capacity of each developer and ensures that tasks are assigned to them in a way that maximizes their productivit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quired developers: </a:t>
            </a: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lgorithm can provide the ideal number of developers required to complete the project on time.</a:t>
            </a:r>
            <a:endParaRPr lang="en-US" sz="18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AA8E4-FFF0-4FE2-464C-8E6AEE1ABC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eveloper Assignmen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9BAB9BD-F227-35B4-A2A6-5C5BA82DAB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68853" y="1069756"/>
            <a:ext cx="2675975" cy="24834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7A097B-E884-141B-64D9-0A91A8E5F31A}"/>
              </a:ext>
            </a:extLst>
          </p:cNvPr>
          <p:cNvSpPr txBox="1"/>
          <p:nvPr/>
        </p:nvSpPr>
        <p:spPr>
          <a:xfrm>
            <a:off x="8173370" y="4438404"/>
            <a:ext cx="375749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400" dirty="0">
                <a:solidFill>
                  <a:srgbClr val="FEFFFF"/>
                </a:solidFill>
              </a:rPr>
              <a:t>The </a:t>
            </a:r>
            <a:r>
              <a:rPr lang="en-IN" sz="1600" b="0" i="0" dirty="0">
                <a:solidFill>
                  <a:srgbClr val="FEFFFF"/>
                </a:solidFill>
                <a:effectLst/>
                <a:latin typeface="Söhne"/>
              </a:rPr>
              <a:t>tool assigns developers based on availability and capacity, maximizing efficiency. Algorithm also calculates required developers for timely completion.</a:t>
            </a:r>
            <a:endParaRPr lang="en-US" sz="1400" dirty="0">
              <a:solidFill>
                <a:srgbClr val="FE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88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9E3874-A133-FF93-FE21-1BC1E53631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193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6944F1-2CE9-DD37-7293-7759AF2DC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08702"/>
            <a:ext cx="5311674" cy="1052663"/>
          </a:xfrm>
        </p:spPr>
        <p:txBody>
          <a:bodyPr vert="horz"/>
          <a:lstStyle/>
          <a:p>
            <a:r>
              <a:rPr lang="en-IN" sz="240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print Planning: </a:t>
            </a:r>
            <a:r>
              <a:rPr lang="en-IN" sz="24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fficient Project Planning and Management Simplified.</a:t>
            </a:r>
            <a:endParaRPr lang="en-US" sz="3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E662AE-1DEF-D062-5A44-2CBB030DF7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3861607"/>
            <a:ext cx="5065776" cy="276999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</a:t>
            </a: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ses </a:t>
            </a:r>
            <a:r>
              <a:rPr lang="en-IN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graph algorithm</a:t>
            </a: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to determine the best order for implementing stories, based on their dependencies.</a:t>
            </a:r>
          </a:p>
          <a:p>
            <a:pPr algn="just">
              <a:buNone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he sprint planning feature of our tool also provides features for prioritizing tasks</a:t>
            </a: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lgorithm helps detect project bottlenecks and allows for adjustments to stay on track.</a:t>
            </a:r>
            <a:endParaRPr lang="en-IN" b="0" i="0" dirty="0">
              <a:solidFill>
                <a:schemeClr val="bg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EE5BD-001C-469E-9D6B-179826CDDA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print Planning</a:t>
            </a:r>
          </a:p>
        </p:txBody>
      </p:sp>
      <p:pic>
        <p:nvPicPr>
          <p:cNvPr id="5" name="Picture 4" descr="Timeline&#10;&#10;Description automatically generated">
            <a:extLst>
              <a:ext uri="{FF2B5EF4-FFF2-40B4-BE49-F238E27FC236}">
                <a16:creationId xmlns:a16="http://schemas.microsoft.com/office/drawing/2014/main" id="{94432B70-37EB-6DDE-7D13-CE8A5C60BC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9501" y="1235033"/>
            <a:ext cx="5575300" cy="18542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0FBCA1F-F2AF-8759-5BAF-0FA69837A9D1}"/>
              </a:ext>
            </a:extLst>
          </p:cNvPr>
          <p:cNvSpPr txBox="1"/>
          <p:nvPr/>
        </p:nvSpPr>
        <p:spPr>
          <a:xfrm>
            <a:off x="6526878" y="4600548"/>
            <a:ext cx="517629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/>
            <a:r>
              <a:rPr lang="en-IN" b="0" i="0" dirty="0">
                <a:solidFill>
                  <a:srgbClr val="FEFFFF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ol uses an algorithm to find the optimal  story order, prioritize tasks, and identify bottlenecks/blockers for efficient project management.</a:t>
            </a:r>
            <a:endParaRPr lang="en-US" dirty="0">
              <a:solidFill>
                <a:srgbClr val="FE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8305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ABB25D-C2BB-3345-907F-0008038782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2697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8B4F57-57EB-6DC2-0737-45CDB3BF9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04479"/>
            <a:ext cx="5065776" cy="1040786"/>
          </a:xfrm>
        </p:spPr>
        <p:txBody>
          <a:bodyPr vert="horz"/>
          <a:lstStyle/>
          <a:p>
            <a:r>
              <a:rPr lang="en-IN" sz="240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Visualisation: </a:t>
            </a:r>
            <a:r>
              <a:rPr lang="en-IN" sz="24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hancing Project Management through Dependency Graph and Gantt Chart</a:t>
            </a:r>
            <a:endParaRPr lang="en-US" sz="3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C7AB8C4-F797-812C-532A-8418CFD574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100990"/>
            <a:ext cx="5065776" cy="276999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generates</a:t>
            </a: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a dependency graph to illustrate task relationships and dependenci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solidFill>
                <a:schemeClr val="bg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generates</a:t>
            </a: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a Gantt chart to display task start and end dates, as well as the project timelin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solidFill>
                <a:schemeClr val="bg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800" b="0" i="0" dirty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t enables teams to spot delays and dependency issues, so they can make necessary adjustments to keep the project </a:t>
            </a:r>
            <a:r>
              <a:rPr lang="en-IN" sz="1800" b="0" i="0">
                <a:solidFill>
                  <a:schemeClr val="bg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n track</a:t>
            </a:r>
            <a:endParaRPr lang="en-IN" sz="1800" b="0" i="0" dirty="0">
              <a:solidFill>
                <a:schemeClr val="bg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IN" sz="1800" b="0" i="0" dirty="0">
              <a:solidFill>
                <a:schemeClr val="bg2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4AD03-E4FA-77E9-F779-D49F7A3F20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pic>
        <p:nvPicPr>
          <p:cNvPr id="6" name="Picture 2" descr="Gantt chart - A Complete Beginner's Guide">
            <a:extLst>
              <a:ext uri="{FF2B5EF4-FFF2-40B4-BE49-F238E27FC236}">
                <a16:creationId xmlns:a16="http://schemas.microsoft.com/office/drawing/2014/main" id="{4E02F14C-ED3E-68C4-C8D1-A4FCCAA89C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738" y="704479"/>
            <a:ext cx="4297319" cy="353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1BCA52D-B7ED-3A70-9FDA-38968D940104}"/>
              </a:ext>
            </a:extLst>
          </p:cNvPr>
          <p:cNvSpPr txBox="1"/>
          <p:nvPr/>
        </p:nvSpPr>
        <p:spPr>
          <a:xfrm>
            <a:off x="6938890" y="4748645"/>
            <a:ext cx="4516028" cy="7315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IN" dirty="0">
                <a:solidFill>
                  <a:srgbClr val="FE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IN" sz="1600" b="0" i="0" dirty="0">
                <a:solidFill>
                  <a:srgbClr val="FEFFFF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ol generates a dependency graph and Gantt chart view to identify potential delays, improving project efficiency and productivity.</a:t>
            </a:r>
            <a:r>
              <a:rPr lang="en-US" sz="1400" dirty="0">
                <a:solidFill>
                  <a:srgbClr val="FE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147DA3-FFB8-B97A-76B1-0328CABC5632}"/>
              </a:ext>
            </a:extLst>
          </p:cNvPr>
          <p:cNvSpPr txBox="1"/>
          <p:nvPr/>
        </p:nvSpPr>
        <p:spPr>
          <a:xfrm>
            <a:off x="2766951" y="237506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60214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Default Them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95D2CFC3-B3F8-4CED-8640-39E68F7B5A4F}" vid="{0F188D2E-99C2-4F24-816D-492017947B7E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Presentation2" id="{A302B4F8-5EA8-44D8-88B5-0EA8D055C305}" vid="{4E26EAA2-60E8-4D71-A419-C6F584D0041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335</TotalTime>
  <Words>513</Words>
  <Application>Microsoft Macintosh PowerPoint</Application>
  <PresentationFormat>Widescreen</PresentationFormat>
  <Paragraphs>5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Georgia</vt:lpstr>
      <vt:lpstr>Segoe UI</vt:lpstr>
      <vt:lpstr>Söhne</vt:lpstr>
      <vt:lpstr>Times New Roman</vt:lpstr>
      <vt:lpstr>Wingdings</vt:lpstr>
      <vt:lpstr>Default Theme</vt:lpstr>
      <vt:lpstr>Contrast</vt:lpstr>
      <vt:lpstr>think-cell Slide</vt:lpstr>
      <vt:lpstr>Sprint Planner</vt:lpstr>
      <vt:lpstr>Sprint Planning: Collaborative Effort for Agile Development Success</vt:lpstr>
      <vt:lpstr>Proposed Solution: A comprehensive plan to increase the efficiency of the planning process.</vt:lpstr>
      <vt:lpstr>Story Management: Organizing project stories for improved project planning and execution.</vt:lpstr>
      <vt:lpstr>Developer Management: Assigning Tasks and Calculating Required Developers</vt:lpstr>
      <vt:lpstr>Sprint Planning: Efficient Project Planning and Management Simplified.</vt:lpstr>
      <vt:lpstr>Visualisation: Enhancing Project Management through Dependency Graph and Gantt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t Planner</dc:title>
  <dc:creator>Gaurav Poosarla</dc:creator>
  <cp:lastModifiedBy>Gaurav Poosarla</cp:lastModifiedBy>
  <cp:revision>62</cp:revision>
  <dcterms:created xsi:type="dcterms:W3CDTF">2023-03-16T17:27:49Z</dcterms:created>
  <dcterms:modified xsi:type="dcterms:W3CDTF">2023-04-02T15:54:34Z</dcterms:modified>
</cp:coreProperties>
</file>